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35"/>
  </p:notesMasterIdLst>
  <p:handoutMasterIdLst>
    <p:handoutMasterId r:id="rId36"/>
  </p:handoutMasterIdLst>
  <p:sldIdLst>
    <p:sldId id="273" r:id="rId6"/>
    <p:sldId id="268" r:id="rId7"/>
    <p:sldId id="270" r:id="rId8"/>
    <p:sldId id="267" r:id="rId9"/>
    <p:sldId id="274" r:id="rId10"/>
    <p:sldId id="271" r:id="rId11"/>
    <p:sldId id="264" r:id="rId12"/>
    <p:sldId id="272" r:id="rId13"/>
    <p:sldId id="300" r:id="rId14"/>
    <p:sldId id="275" r:id="rId15"/>
    <p:sldId id="276" r:id="rId16"/>
    <p:sldId id="277" r:id="rId17"/>
    <p:sldId id="278" r:id="rId18"/>
    <p:sldId id="282" r:id="rId19"/>
    <p:sldId id="284" r:id="rId20"/>
    <p:sldId id="285" r:id="rId21"/>
    <p:sldId id="286" r:id="rId22"/>
    <p:sldId id="287" r:id="rId23"/>
    <p:sldId id="288" r:id="rId24"/>
    <p:sldId id="290" r:id="rId25"/>
    <p:sldId id="291" r:id="rId26"/>
    <p:sldId id="292" r:id="rId27"/>
    <p:sldId id="293" r:id="rId28"/>
    <p:sldId id="294" r:id="rId29"/>
    <p:sldId id="295" r:id="rId30"/>
    <p:sldId id="296" r:id="rId31"/>
    <p:sldId id="299" r:id="rId32"/>
    <p:sldId id="297" r:id="rId33"/>
    <p:sldId id="298" r:id="rId34"/>
  </p:sldIdLst>
  <p:sldSz cx="9144000" cy="6858000" type="screen4x3"/>
  <p:notesSz cx="6858000" cy="9144000"/>
  <p:custDataLst>
    <p:tags r:id="rId37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31" clrIdx="0">
    <p:extLst/>
  </p:cmAuthor>
  <p:cmAuthor id="2" name="Ribeiro, Leonardo" initials="RL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3B9"/>
    <a:srgbClr val="359B4C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79971" autoAdjust="0"/>
  </p:normalViewPr>
  <p:slideViewPr>
    <p:cSldViewPr snapToGrid="0" showGuides="1">
      <p:cViewPr varScale="1">
        <p:scale>
          <a:sx n="71" d="100"/>
          <a:sy n="71" d="100"/>
        </p:scale>
        <p:origin x="1974" y="54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3D13EE75-9B09-4398-AC81-D80F0A81E322}" type="presOf" srcId="{B4AC21DC-EC9A-40FF-B178-A91C2EADC8C6}" destId="{BD007EEB-61A5-4C7D-B8A4-8E994164C878}" srcOrd="2" destOrd="0" presId="urn:microsoft.com/office/officeart/2005/8/layout/gear1"/>
    <dgm:cxn modelId="{CFED20AD-9F9D-4042-887C-69BC43C99710}" type="presOf" srcId="{A67CEFC1-6D07-4C9E-8B9B-16F4DFA5DE31}" destId="{E2C9D73F-FB76-4109-9C3B-CDD964B9A9DF}" srcOrd="0" destOrd="0" presId="urn:microsoft.com/office/officeart/2005/8/layout/gear1"/>
    <dgm:cxn modelId="{8AC0D149-2C79-4ADE-A6F2-1D1A0E09CF92}" type="presOf" srcId="{B4AC21DC-EC9A-40FF-B178-A91C2EADC8C6}" destId="{2427AE9A-B7B7-44EE-9688-471A19F67348}" srcOrd="0" destOrd="0" presId="urn:microsoft.com/office/officeart/2005/8/layout/gear1"/>
    <dgm:cxn modelId="{FF05D255-36BB-40F1-872C-246A625FA0DD}" type="presOf" srcId="{B5CFEF5D-6A3C-420A-ADD2-365C63B302B9}" destId="{8DC6C1E0-B984-4F7F-A090-7E6A8EDF7369}" srcOrd="2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6F96FE78-96D3-4BB8-8B22-87644B6461B7}" type="presOf" srcId="{A67CEFC1-6D07-4C9E-8B9B-16F4DFA5DE31}" destId="{9508E0F8-14DF-4543-B5FB-A17B54BCD50D}" srcOrd="1" destOrd="0" presId="urn:microsoft.com/office/officeart/2005/8/layout/gear1"/>
    <dgm:cxn modelId="{48EE5B24-72F8-4F3A-8A40-37CB955E4BD1}" type="presOf" srcId="{B5CFEF5D-6A3C-420A-ADD2-365C63B302B9}" destId="{D9CF0B2A-E4E4-4B79-9291-B91AB5224007}" srcOrd="0" destOrd="0" presId="urn:microsoft.com/office/officeart/2005/8/layout/gear1"/>
    <dgm:cxn modelId="{5F8B70BA-3D27-4311-B23C-9DA62E2DC267}" type="presOf" srcId="{B4AC21DC-EC9A-40FF-B178-A91C2EADC8C6}" destId="{473C5192-4D9E-4697-8CA4-283C87844328}" srcOrd="1" destOrd="0" presId="urn:microsoft.com/office/officeart/2005/8/layout/gear1"/>
    <dgm:cxn modelId="{0295F0AF-1B7A-481B-9000-F777462F89A3}" type="presOf" srcId="{89543BFC-411C-4932-84AF-F95B3D323F93}" destId="{2EA225CC-2E49-44ED-8CC1-3CCBF84AD379}" srcOrd="0" destOrd="0" presId="urn:microsoft.com/office/officeart/2005/8/layout/gear1"/>
    <dgm:cxn modelId="{75EAC7F6-3BC5-4B48-8E4C-C38C7F1FE01C}" type="presOf" srcId="{B5CFEF5D-6A3C-420A-ADD2-365C63B302B9}" destId="{1C9BEAEE-8AF8-4D52-8651-CC1937F1A321}" srcOrd="1" destOrd="0" presId="urn:microsoft.com/office/officeart/2005/8/layout/gear1"/>
    <dgm:cxn modelId="{68C972EA-32A5-44CE-A7A0-8AEBDBADB98B}" type="presOf" srcId="{2EF8CFD4-E9EA-4BA0-9A33-C8F1A9BA201E}" destId="{0D328973-7EA0-4BDA-8345-B35D0D5F9918}" srcOrd="0" destOrd="0" presId="urn:microsoft.com/office/officeart/2005/8/layout/gear1"/>
    <dgm:cxn modelId="{638CF031-5FD6-4AEF-AA89-F18596E5A214}" type="presOf" srcId="{B4AC21DC-EC9A-40FF-B178-A91C2EADC8C6}" destId="{746F4FA9-5757-4AAD-9A04-5E552DBB9F9F}" srcOrd="3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01252459-D559-479E-96E8-D74B730AE324}" type="presOf" srcId="{A67CEFC1-6D07-4C9E-8B9B-16F4DFA5DE31}" destId="{00883E4F-EDF6-4DBF-8F50-80F81724BAB1}" srcOrd="2" destOrd="0" presId="urn:microsoft.com/office/officeart/2005/8/layout/gear1"/>
    <dgm:cxn modelId="{F2BFAF59-2747-4358-ABD7-E905445C02C7}" type="presOf" srcId="{0DEF3A54-425B-425D-9087-3815B7A4B7CF}" destId="{A6069DFB-10A0-41DC-94CF-D614D68D696C}" srcOrd="0" destOrd="0" presId="urn:microsoft.com/office/officeart/2005/8/layout/gear1"/>
    <dgm:cxn modelId="{C9871D80-86A6-4EF2-AE48-7B373DDD61D4}" type="presOf" srcId="{E6907C63-A233-4DAE-B96D-589B5E60B434}" destId="{1D106DD1-2D3A-4EAC-B3CC-942B5CA4B912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9E4E4F9-A1CB-47A3-97A2-7F3213C64078}" type="presParOf" srcId="{2EA225CC-2E49-44ED-8CC1-3CCBF84AD379}" destId="{D9CF0B2A-E4E4-4B79-9291-B91AB5224007}" srcOrd="0" destOrd="0" presId="urn:microsoft.com/office/officeart/2005/8/layout/gear1"/>
    <dgm:cxn modelId="{5A12B147-DA8C-46E0-B262-5F673841ECEE}" type="presParOf" srcId="{2EA225CC-2E49-44ED-8CC1-3CCBF84AD379}" destId="{1C9BEAEE-8AF8-4D52-8651-CC1937F1A321}" srcOrd="1" destOrd="0" presId="urn:microsoft.com/office/officeart/2005/8/layout/gear1"/>
    <dgm:cxn modelId="{7262F1AD-7A44-4015-9517-516D72C40FBF}" type="presParOf" srcId="{2EA225CC-2E49-44ED-8CC1-3CCBF84AD379}" destId="{8DC6C1E0-B984-4F7F-A090-7E6A8EDF7369}" srcOrd="2" destOrd="0" presId="urn:microsoft.com/office/officeart/2005/8/layout/gear1"/>
    <dgm:cxn modelId="{E5C2DCB0-3B8A-4715-B8E0-9599405EAA8C}" type="presParOf" srcId="{2EA225CC-2E49-44ED-8CC1-3CCBF84AD379}" destId="{E2C9D73F-FB76-4109-9C3B-CDD964B9A9DF}" srcOrd="3" destOrd="0" presId="urn:microsoft.com/office/officeart/2005/8/layout/gear1"/>
    <dgm:cxn modelId="{3015BCB9-1F59-48BC-9ABE-2D4B7E767F5B}" type="presParOf" srcId="{2EA225CC-2E49-44ED-8CC1-3CCBF84AD379}" destId="{9508E0F8-14DF-4543-B5FB-A17B54BCD50D}" srcOrd="4" destOrd="0" presId="urn:microsoft.com/office/officeart/2005/8/layout/gear1"/>
    <dgm:cxn modelId="{B156EB56-B142-4289-88A8-64F7022C872D}" type="presParOf" srcId="{2EA225CC-2E49-44ED-8CC1-3CCBF84AD379}" destId="{00883E4F-EDF6-4DBF-8F50-80F81724BAB1}" srcOrd="5" destOrd="0" presId="urn:microsoft.com/office/officeart/2005/8/layout/gear1"/>
    <dgm:cxn modelId="{FA66FEE2-18D7-4B29-A6D8-A3BE4EFED7D5}" type="presParOf" srcId="{2EA225CC-2E49-44ED-8CC1-3CCBF84AD379}" destId="{2427AE9A-B7B7-44EE-9688-471A19F67348}" srcOrd="6" destOrd="0" presId="urn:microsoft.com/office/officeart/2005/8/layout/gear1"/>
    <dgm:cxn modelId="{9C66BBC5-2533-4F85-AFF8-DB2E4068BE06}" type="presParOf" srcId="{2EA225CC-2E49-44ED-8CC1-3CCBF84AD379}" destId="{473C5192-4D9E-4697-8CA4-283C87844328}" srcOrd="7" destOrd="0" presId="urn:microsoft.com/office/officeart/2005/8/layout/gear1"/>
    <dgm:cxn modelId="{274DD21C-9A6C-4047-9743-398D700790B3}" type="presParOf" srcId="{2EA225CC-2E49-44ED-8CC1-3CCBF84AD379}" destId="{BD007EEB-61A5-4C7D-B8A4-8E994164C878}" srcOrd="8" destOrd="0" presId="urn:microsoft.com/office/officeart/2005/8/layout/gear1"/>
    <dgm:cxn modelId="{CE00BA37-9236-4AD1-9CF4-1A86986491CA}" type="presParOf" srcId="{2EA225CC-2E49-44ED-8CC1-3CCBF84AD379}" destId="{746F4FA9-5757-4AAD-9A04-5E552DBB9F9F}" srcOrd="9" destOrd="0" presId="urn:microsoft.com/office/officeart/2005/8/layout/gear1"/>
    <dgm:cxn modelId="{83D20EF7-4BEF-4E01-8582-7BF42E3D9A75}" type="presParOf" srcId="{2EA225CC-2E49-44ED-8CC1-3CCBF84AD379}" destId="{1D106DD1-2D3A-4EAC-B3CC-942B5CA4B912}" srcOrd="10" destOrd="0" presId="urn:microsoft.com/office/officeart/2005/8/layout/gear1"/>
    <dgm:cxn modelId="{B24DEB35-098B-41BD-A686-0819320EF555}" type="presParOf" srcId="{2EA225CC-2E49-44ED-8CC1-3CCBF84AD379}" destId="{0D328973-7EA0-4BDA-8345-B35D0D5F9918}" srcOrd="11" destOrd="0" presId="urn:microsoft.com/office/officeart/2005/8/layout/gear1"/>
    <dgm:cxn modelId="{7D3110C3-98D4-4A9D-BC36-50D6DDC19520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711D4C6-D338-4847-B061-27DD1472B85F}" type="presOf" srcId="{4314EE2F-1D85-463E-BD29-E4D93DDC1295}" destId="{64433F73-E662-4882-9F7F-758FD3AE30B7}" srcOrd="0" destOrd="0" presId="urn:microsoft.com/office/officeart/2005/8/layout/pyramid4"/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5778E19C-728F-4C74-A6A6-9DA39A3B0477}" type="presOf" srcId="{CCAFF948-E824-4B26-BEF8-E377FB33BB79}" destId="{0DA0B4D2-89D2-4A8F-917F-F074B8961B3D}" srcOrd="0" destOrd="0" presId="urn:microsoft.com/office/officeart/2005/8/layout/pyramid4"/>
    <dgm:cxn modelId="{AD0B6CBA-6DB6-4900-858F-9AB17037959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F1D3C4D4-149A-4273-BF03-8329DA4093DD}" type="presOf" srcId="{F9BF7ABB-0667-4304-89B4-F2A4A15BB821}" destId="{C955E634-30BF-4B53-8E9F-76C4E7C0546C}" srcOrd="0" destOrd="0" presId="urn:microsoft.com/office/officeart/2005/8/layout/pyramid4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8FC8A7E-651D-4E7C-8EAF-288D0EFBFF35}" type="presOf" srcId="{F69F900E-8C12-4BFD-BBDB-E325B9398904}" destId="{B20675A2-03EE-4DCD-82FA-BB78A0EAE284}" srcOrd="0" destOrd="0" presId="urn:microsoft.com/office/officeart/2005/8/layout/pyramid4"/>
    <dgm:cxn modelId="{34686140-70B6-4C0F-9994-794AF746F51B}" type="presParOf" srcId="{B20675A2-03EE-4DCD-82FA-BB78A0EAE284}" destId="{64433F73-E662-4882-9F7F-758FD3AE30B7}" srcOrd="0" destOrd="0" presId="urn:microsoft.com/office/officeart/2005/8/layout/pyramid4"/>
    <dgm:cxn modelId="{9C020C9D-BE43-4BE3-8BE7-5B362A5D9170}" type="presParOf" srcId="{B20675A2-03EE-4DCD-82FA-BB78A0EAE284}" destId="{0DA0B4D2-89D2-4A8F-917F-F074B8961B3D}" srcOrd="1" destOrd="0" presId="urn:microsoft.com/office/officeart/2005/8/layout/pyramid4"/>
    <dgm:cxn modelId="{04954D84-AE25-48AB-BFCE-EB2695CA2B84}" type="presParOf" srcId="{B20675A2-03EE-4DCD-82FA-BB78A0EAE284}" destId="{FCC81336-869F-411B-9391-B04824C3D716}" srcOrd="2" destOrd="0" presId="urn:microsoft.com/office/officeart/2005/8/layout/pyramid4"/>
    <dgm:cxn modelId="{DC425308-D5CB-4E09-A210-4D041B5A449B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image" Target="../media/image13.w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image" Target="../media/image15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149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0380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882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275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46781" lvl="2" indent="0">
              <a:lnSpc>
                <a:spcPct val="107000"/>
              </a:lnSpc>
              <a:buFont typeface="Wingdings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657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689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w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wmf"/><Relationship Id="rId4" Type="http://schemas.openxmlformats.org/officeDocument/2006/relationships/oleObject" Target="../embeddings/oleObject9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4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3.w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1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6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5.wmf"/><Relationship Id="rId4" Type="http://schemas.openxmlformats.org/officeDocument/2006/relationships/oleObject" Target="../embeddings/oleObject12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7.wmf"/><Relationship Id="rId4" Type="http://schemas.openxmlformats.org/officeDocument/2006/relationships/oleObject" Target="../embeddings/oleObject14.bin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8.wmf"/><Relationship Id="rId4" Type="http://schemas.openxmlformats.org/officeDocument/2006/relationships/oleObject" Target="../embeddings/oleObject1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0.w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1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991401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 INFORMAÇÃO DE ITEMS NA TABELA TEMP</a:t>
            </a: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5881398"/>
              </p:ext>
            </p:extLst>
          </p:nvPr>
        </p:nvGraphicFramePr>
        <p:xfrm>
          <a:off x="5912427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12427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435220" y="340495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MP_SELECAO_FATURAS_A_FATURAR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a a coluna VL_BASE_CALCULO_SEM_REDUC</a:t>
            </a:r>
            <a:br>
              <a:rPr lang="pt-BR" sz="1200" i="1" dirty="0" smtClean="0"/>
            </a:br>
            <a:r>
              <a:rPr lang="pt-BR" sz="1200" i="1" dirty="0" smtClean="0"/>
              <a:t>que contem o montante de itens já excluídos pelo imposto reduzido.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o o CD_MODELO_ICMS que indica os produtos de TV.</a:t>
            </a:r>
          </a:p>
        </p:txBody>
      </p:sp>
    </p:spTree>
    <p:extLst>
      <p:ext uri="{BB962C8B-B14F-4D97-AF65-F5344CB8AC3E}">
        <p14:creationId xmlns:p14="http://schemas.microsoft.com/office/powerpoint/2010/main" val="189603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2397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grama atribui a nota fiscal para cada registro extraído da tabela TMP_SELECAO_FATURAS_A_FATURAR.  A nota fiscal que será atribuída para cada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fatura é feita de forma sequencial sendo controlado através de CONTROLE_NUM_NOTAS_FISCAIS.  Este também gera o código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sh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 informação extraída será então inserida na tabela HISTORICO_NOTAS_FISCAIS localizada em ambas bases de dados CUSTOMER e APPSERVER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931" y="4520627"/>
            <a:ext cx="5041400" cy="1607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#Ps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emanda dos #Ps oferta produtos TV e introduz uma nova abordagem na taxação deles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Estes produtos serão aplicados com imposto ICMS reduzido.  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esta nova regra, a solução foi criar um novo pacote de imposto [REDUC TAX] que reduziria o imposto ICMS aplicado por Estado.  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81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1862807"/>
            <a:ext cx="5041400" cy="4176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#P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 resultado da criação de um novo pacote de imposto e modificação do programa bp_int_cb_sel_fat_numnf, este programa também foi modificado para receber a coluna VL_BASE_CALCULO_SEM_REDUC da tabela TMP_SELECAO_FATURAS_A_FATURAR qu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é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ntante baseado já reduzido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tras Modificações: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moç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um parâmetro da linha de comando [open_item_id_billing] </a:t>
            </a:r>
            <a:r>
              <a:rPr lang="pt-BR" sz="1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permitir a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ser executado em uma execução independente se é Móvel ou WLL.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são de uma nova informação [cd_modelo_icms] que diferencia produtos de TV de outros itens.  CD_MODELO_ICMS 21 será atribuído aos itens com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96 [Oi TV] e 97 [Oi Comunicações] enquanto o CD_MODELO_ICMS 22 foi definido para outros itens. 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688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52540" y="1755884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727240" y="2317673"/>
            <a:ext cx="2777469" cy="467092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Verifica duplicidade e integridade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3731380" y="3039051"/>
            <a:ext cx="2769825" cy="476643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í e Lê informação de sequencia, tabela CONTROLE_NUM_NOTAS_FISCAIS e Ciclo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6" name="Flowchart: Alternate Process 25">
            <a:hlinkClick r:id="rId2" action="ppaction://hlinksldjump"/>
          </p:cNvPr>
          <p:cNvSpPr/>
          <p:nvPr/>
        </p:nvSpPr>
        <p:spPr>
          <a:xfrm>
            <a:off x="3731380" y="3750864"/>
            <a:ext cx="2769825" cy="476643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arca a execução na EXECUCAO_NUMERADO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0" name="Flowchart: Alternate Process 29">
            <a:hlinkClick r:id="rId2" action="ppaction://hlinksldjump"/>
          </p:cNvPr>
          <p:cNvSpPr/>
          <p:nvPr/>
        </p:nvSpPr>
        <p:spPr>
          <a:xfrm>
            <a:off x="3727239" y="4465699"/>
            <a:ext cx="2769825" cy="476643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Seleciona faturas de TMP_SELECAO_FATURAS_A_FATURAR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1" name="Flowchart: Alternate Process 30">
            <a:hlinkClick r:id="rId2" action="ppaction://hlinksldjump"/>
          </p:cNvPr>
          <p:cNvSpPr/>
          <p:nvPr/>
        </p:nvSpPr>
        <p:spPr>
          <a:xfrm>
            <a:off x="3727239" y="5177512"/>
            <a:ext cx="2769825" cy="476643"/>
          </a:xfrm>
          <a:prstGeom prst="flowChartAlternate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Verifica e </a:t>
            </a:r>
            <a:r>
              <a:rPr lang="pt-BR" sz="1000" dirty="0">
                <a:solidFill>
                  <a:schemeClr val="tx1"/>
                </a:solidFill>
              </a:rPr>
              <a:t>obtém </a:t>
            </a:r>
            <a:r>
              <a:rPr lang="pt-BR" sz="1000" dirty="0" smtClean="0">
                <a:solidFill>
                  <a:schemeClr val="tx1"/>
                </a:solidFill>
              </a:rPr>
              <a:t>informações da fatur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3" name="Flowchart: Alternate Process 32">
            <a:hlinkClick r:id="rId2" action="ppaction://hlinksldjump"/>
          </p:cNvPr>
          <p:cNvSpPr/>
          <p:nvPr/>
        </p:nvSpPr>
        <p:spPr>
          <a:xfrm>
            <a:off x="3727239" y="5889325"/>
            <a:ext cx="2769825" cy="551816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 as informações de itens na tabela </a:t>
            </a:r>
            <a:r>
              <a:rPr lang="pt-BR" sz="1000" dirty="0" smtClean="0">
                <a:solidFill>
                  <a:schemeClr val="tx1"/>
                </a:solidFill>
              </a:rPr>
              <a:t>HISTORICO_NOTAS_FISCAIS</a:t>
            </a:r>
          </a:p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(HISTORICO_NF_PROFORMA)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25" idx="0"/>
          </p:cNvCxnSpPr>
          <p:nvPr/>
        </p:nvCxnSpPr>
        <p:spPr>
          <a:xfrm>
            <a:off x="5115975" y="2784765"/>
            <a:ext cx="318" cy="2542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5" idx="2"/>
            <a:endCxn id="26" idx="0"/>
          </p:cNvCxnSpPr>
          <p:nvPr/>
        </p:nvCxnSpPr>
        <p:spPr>
          <a:xfrm>
            <a:off x="5116293" y="3515694"/>
            <a:ext cx="0" cy="23517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6" idx="2"/>
            <a:endCxn id="30" idx="0"/>
          </p:cNvCxnSpPr>
          <p:nvPr/>
        </p:nvCxnSpPr>
        <p:spPr>
          <a:xfrm flipH="1">
            <a:off x="5112152" y="4227507"/>
            <a:ext cx="4141" cy="2381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0" idx="2"/>
            <a:endCxn id="31" idx="0"/>
          </p:cNvCxnSpPr>
          <p:nvPr/>
        </p:nvCxnSpPr>
        <p:spPr>
          <a:xfrm>
            <a:off x="5112152" y="4942342"/>
            <a:ext cx="0" cy="23517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31" idx="2"/>
            <a:endCxn id="33" idx="0"/>
          </p:cNvCxnSpPr>
          <p:nvPr/>
        </p:nvCxnSpPr>
        <p:spPr>
          <a:xfrm>
            <a:off x="5112152" y="5654155"/>
            <a:ext cx="0" cy="23517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817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dirty="0" err="1" smtClean="0">
                <a:latin typeface="Arial"/>
                <a:ea typeface="Times New Roman"/>
              </a:rPr>
              <a:t>While</a:t>
            </a:r>
            <a:r>
              <a:rPr lang="pt-BR" sz="900" dirty="0" smtClean="0">
                <a:latin typeface="Arial"/>
                <a:ea typeface="Times New Roman"/>
              </a:rPr>
              <a:t> </a:t>
            </a:r>
            <a:r>
              <a:rPr lang="pt-BR" sz="900" dirty="0">
                <a:latin typeface="Arial"/>
                <a:ea typeface="Times New Roman"/>
              </a:rPr>
              <a:t>(Enquanto houver Ciclos)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Chama a função</a:t>
            </a:r>
            <a:r>
              <a:rPr lang="pt-BR" sz="1100" dirty="0">
                <a:latin typeface="Times New Roman"/>
                <a:ea typeface="Times New Roman"/>
              </a:rPr>
              <a:t> </a:t>
            </a:r>
            <a:r>
              <a:rPr lang="pt-BR" sz="900" dirty="0">
                <a:latin typeface="Arial"/>
                <a:ea typeface="Times New Roman"/>
              </a:rPr>
              <a:t>inicia_controle_execucao(&amp;hOracleF3C, gca.stStatementDate, gca.stBillPeriod, &amp;gca.usFlagTipoProcessamento, gca.stSiglaUf, &amp;gca.server_id, &amp;gca.dNumSeqExecucao</a:t>
            </a:r>
            <a:r>
              <a:rPr lang="pt-BR" sz="900" i="1" dirty="0">
                <a:latin typeface="Arial"/>
                <a:ea typeface="Times New Roman"/>
              </a:rPr>
              <a:t>,</a:t>
            </a:r>
            <a:r>
              <a:rPr lang="pt-BR" sz="900" i="1" strike="sngStrike" dirty="0">
                <a:highlight>
                  <a:srgbClr val="FFFF00"/>
                </a:highlight>
                <a:latin typeface="Arial"/>
                <a:ea typeface="Times New Roman"/>
              </a:rPr>
              <a:t>gca.dOpenItemIdBilling</a:t>
            </a:r>
            <a:r>
              <a:rPr lang="pt-BR" sz="900" dirty="0">
                <a:latin typeface="Arial"/>
                <a:ea typeface="Times New Roman"/>
              </a:rPr>
              <a:t>) -  Marca o início da execução na tabela execucao_numerador “Insert02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highlight>
                  <a:srgbClr val="FFFF00"/>
                </a:highlight>
                <a:latin typeface="Arial"/>
                <a:ea typeface="Times New Roman"/>
              </a:rPr>
              <a:t>	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(INI REQ 55454) Insert02.dOpenItemIdBilling = NULL (FIM REQ 55454)</a:t>
            </a:r>
            <a:endParaRPr lang="en-US" sz="1100" dirty="0"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RCAR A EXECUÇÃO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100" dirty="0" smtClean="0">
                <a:latin typeface="Arial" pitchFamily="34" charset="0"/>
                <a:cs typeface="Arial" pitchFamily="34" charset="0"/>
              </a:rPr>
              <a:t>A alteração neste fluxo é para atribuir NULO ao campo OPEN_ITEM_ID_BILLING que será inserido na tabela EXECUCAO_NUMERADOR.  Anteriormente, esta tabela continha registros diferentes para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open_item_id_billing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90 e 12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41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/>
              <a:t>Pseudo-código  : &lt;numera_notas_fiscais&gt;</a:t>
            </a:r>
            <a:endParaRPr lang="en-US" sz="900" dirty="0"/>
          </a:p>
          <a:p>
            <a:r>
              <a:rPr lang="pt-BR" sz="900" b="1" dirty="0"/>
              <a:t>Inicio </a:t>
            </a:r>
            <a:endParaRPr lang="en-US" sz="900" dirty="0"/>
          </a:p>
          <a:p>
            <a:endParaRPr lang="pt-BR" sz="900" i="1" dirty="0" smtClean="0">
              <a:latin typeface="Arial"/>
              <a:ea typeface="Times New Roman"/>
            </a:endParaRPr>
          </a:p>
          <a:p>
            <a:r>
              <a:rPr lang="pt-BR" sz="900" i="1" dirty="0" smtClean="0">
                <a:latin typeface="Arial"/>
                <a:ea typeface="Times New Roman"/>
              </a:rPr>
              <a:t>...</a:t>
            </a:r>
          </a:p>
          <a:p>
            <a:r>
              <a:rPr lang="pt-BR" sz="900" i="1" dirty="0">
                <a:latin typeface="Arial"/>
                <a:ea typeface="Times New Roman"/>
              </a:rPr>
              <a:t>	</a:t>
            </a:r>
            <a:r>
              <a:rPr lang="pt-BR" sz="900" i="1" dirty="0" smtClean="0">
                <a:latin typeface="Arial"/>
                <a:ea typeface="Times New Roman"/>
              </a:rPr>
              <a:t>/* </a:t>
            </a:r>
            <a:r>
              <a:rPr lang="pt-BR" sz="900" i="1" dirty="0">
                <a:latin typeface="Arial"/>
                <a:ea typeface="Times New Roman"/>
              </a:rPr>
              <a:t>Novos Campos da Histórico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	          strcpy(strInsIn.stNumDocCliente,strOut.stnumDocCliente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dTotalAmt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dTotal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BaseCalculo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d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ValorIcms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tax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cpy</a:t>
            </a:r>
            <a:r>
              <a:rPr lang="en-US" sz="900" i="1" dirty="0">
                <a:latin typeface="Arial"/>
                <a:ea typeface="Times New Roman"/>
              </a:rPr>
              <a:t>(</a:t>
            </a:r>
            <a:r>
              <a:rPr lang="en-US" sz="900" i="1" dirty="0" err="1">
                <a:latin typeface="Arial"/>
                <a:ea typeface="Times New Roman"/>
              </a:rPr>
              <a:t>strInsIn.stHashCode,HASH</a:t>
            </a:r>
            <a:r>
              <a:rPr lang="en-US" sz="900" i="1" dirty="0">
                <a:latin typeface="Arial"/>
                <a:ea typeface="Times New Roman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        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(INI REQ 55454) </a:t>
            </a:r>
            <a:r>
              <a:rPr lang="en-US" sz="900" i="1" dirty="0">
                <a:latin typeface="Arial"/>
                <a:ea typeface="Times New Roman"/>
              </a:rPr>
              <a:t>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800" dirty="0" smtClean="0">
                <a:highlight>
                  <a:srgbClr val="FFFF00"/>
                </a:highlight>
                <a:latin typeface="Arial"/>
                <a:ea typeface="Times New Roman"/>
              </a:rPr>
              <a:t>- </a:t>
            </a:r>
            <a:r>
              <a:rPr lang="pt-BR" sz="800" dirty="0">
                <a:highlight>
                  <a:srgbClr val="FFFF00"/>
                </a:highlight>
                <a:latin typeface="Arial"/>
                <a:ea typeface="Times New Roman"/>
              </a:rPr>
              <a:t>VL_BASE_CALCULO_SEM_REDUC, com o VL_BASE_CALCULO_SEM_REDUC do Select03 [DAM8247]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        </a:t>
            </a:r>
            <a:r>
              <a:rPr lang="pt-BR" sz="900" i="1" dirty="0">
                <a:highlight>
                  <a:srgbClr val="FFFF00"/>
                </a:highlight>
                <a:latin typeface="Arial"/>
                <a:ea typeface="Times New Roman"/>
              </a:rPr>
              <a:t>(FIM REQ 55454) </a:t>
            </a:r>
            <a:r>
              <a:rPr lang="pt-BR" sz="900" i="1" dirty="0">
                <a:latin typeface="Arial"/>
                <a:ea typeface="Times New Roman"/>
              </a:rPr>
              <a:t>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       Insere a fatura na historico_num_notas_fiscais em CUST e ARQ “Insert01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       Atualiza a controle_num_notas_fiscais “Update01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Fim Enquanto;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IONAR FATURAS DE TMP_SELECAO_FATURAS_A_FATURAR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100" dirty="0" smtClean="0">
                <a:latin typeface="Arial" pitchFamily="34" charset="0"/>
                <a:cs typeface="Arial" pitchFamily="34" charset="0"/>
              </a:rPr>
              <a:t>Atualizar a DAM 32567 para obter as novas colunas </a:t>
            </a: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_BASE_CALCULO_SEM_REDUC e CD_MODELO_ICMS e atribuir estas novas saídas para a declaração de inserção de HISTORICO_NOTAS_FISCAIS 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100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Sem tabelas impactadas</a:t>
            </a:r>
            <a:endParaRPr lang="en-US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19" y="2073124"/>
            <a:ext cx="529371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IONAR FATURAS DE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MP_SELECAO_FATURAS_A_FATURAR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0576974"/>
              </p:ext>
            </p:extLst>
          </p:nvPr>
        </p:nvGraphicFramePr>
        <p:xfrm>
          <a:off x="6452755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452755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449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/>
              <a:t>Pseudo-código  : &lt;numera_notas_fiscais&gt;</a:t>
            </a:r>
            <a:endParaRPr lang="en-US" sz="900" dirty="0"/>
          </a:p>
          <a:p>
            <a:r>
              <a:rPr lang="pt-BR" sz="900" b="1" dirty="0"/>
              <a:t>Inicio </a:t>
            </a:r>
            <a:endParaRPr lang="en-US" sz="900" dirty="0"/>
          </a:p>
          <a:p>
            <a:endParaRPr lang="pt-BR" sz="900" i="1" dirty="0" smtClean="0">
              <a:latin typeface="Arial"/>
              <a:ea typeface="Times New Roman"/>
            </a:endParaRPr>
          </a:p>
          <a:p>
            <a:r>
              <a:rPr lang="pt-BR" sz="900" i="1" dirty="0" smtClean="0">
                <a:latin typeface="Arial"/>
                <a:ea typeface="Times New Roman"/>
              </a:rPr>
              <a:t>...</a:t>
            </a:r>
          </a:p>
          <a:p>
            <a:r>
              <a:rPr lang="pt-BR" sz="900" i="1" dirty="0">
                <a:latin typeface="Arial"/>
                <a:ea typeface="Times New Roman"/>
              </a:rPr>
              <a:t>	</a:t>
            </a:r>
            <a:r>
              <a:rPr lang="pt-BR" sz="900" i="1" dirty="0" smtClean="0">
                <a:latin typeface="Arial"/>
                <a:ea typeface="Times New Roman"/>
              </a:rPr>
              <a:t>/* </a:t>
            </a:r>
            <a:r>
              <a:rPr lang="pt-BR" sz="900" i="1" dirty="0">
                <a:latin typeface="Arial"/>
                <a:ea typeface="Times New Roman"/>
              </a:rPr>
              <a:t>Novos Campos da Histórico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	          strcpy(strInsIn.stNumDocCliente,strOut.stnumDocCliente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dTotalAmt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dTotal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BaseCalculo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d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InsIn.ValorIcms</a:t>
            </a:r>
            <a:r>
              <a:rPr lang="en-US" sz="900" i="1" dirty="0">
                <a:latin typeface="Arial"/>
                <a:ea typeface="Times New Roman"/>
              </a:rPr>
              <a:t> = </a:t>
            </a:r>
            <a:r>
              <a:rPr lang="en-US" sz="900" i="1" dirty="0" err="1">
                <a:latin typeface="Arial"/>
                <a:ea typeface="Times New Roman"/>
              </a:rPr>
              <a:t>strOut.taxAmount</a:t>
            </a:r>
            <a:r>
              <a:rPr lang="en-US" sz="900" i="1" dirty="0">
                <a:latin typeface="Arial"/>
                <a:ea typeface="Times New Roman"/>
              </a:rPr>
              <a:t>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>
                <a:latin typeface="Arial"/>
                <a:ea typeface="Times New Roman"/>
              </a:rPr>
              <a:t>	          </a:t>
            </a:r>
            <a:r>
              <a:rPr lang="en-US" sz="900" i="1" dirty="0" err="1">
                <a:latin typeface="Arial"/>
                <a:ea typeface="Times New Roman"/>
              </a:rPr>
              <a:t>strcpy</a:t>
            </a:r>
            <a:r>
              <a:rPr lang="en-US" sz="900" i="1" dirty="0">
                <a:latin typeface="Arial"/>
                <a:ea typeface="Times New Roman"/>
              </a:rPr>
              <a:t>(</a:t>
            </a:r>
            <a:r>
              <a:rPr lang="en-US" sz="900" i="1" dirty="0" err="1">
                <a:latin typeface="Arial"/>
                <a:ea typeface="Times New Roman"/>
              </a:rPr>
              <a:t>strInsIn.stHashCode,HASH</a:t>
            </a:r>
            <a:r>
              <a:rPr lang="en-US" sz="900" i="1" dirty="0">
                <a:latin typeface="Arial"/>
                <a:ea typeface="Times New Roman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        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(INI REQ 55454) </a:t>
            </a:r>
            <a:r>
              <a:rPr lang="en-US" sz="900" i="1" dirty="0">
                <a:latin typeface="Arial"/>
                <a:ea typeface="Times New Roman"/>
              </a:rPr>
              <a:t>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800" dirty="0" smtClean="0">
                <a:highlight>
                  <a:srgbClr val="FFFF00"/>
                </a:highlight>
                <a:latin typeface="Arial"/>
                <a:ea typeface="Times New Roman"/>
              </a:rPr>
              <a:t>- </a:t>
            </a:r>
            <a:r>
              <a:rPr lang="pt-BR" sz="800" dirty="0">
                <a:highlight>
                  <a:srgbClr val="FFFF00"/>
                </a:highlight>
                <a:latin typeface="Arial"/>
                <a:ea typeface="Times New Roman"/>
              </a:rPr>
              <a:t>VL_BASE_CALCULO_SEM_REDUC, com o VL_BASE_CALCULO_SEM_REDUC do Select03 [DAM8247]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        </a:t>
            </a:r>
            <a:r>
              <a:rPr lang="pt-BR" sz="900" i="1" dirty="0">
                <a:highlight>
                  <a:srgbClr val="FFFF00"/>
                </a:highlight>
                <a:latin typeface="Arial"/>
                <a:ea typeface="Times New Roman"/>
              </a:rPr>
              <a:t>(FIM REQ 55454) </a:t>
            </a:r>
            <a:r>
              <a:rPr lang="pt-BR" sz="900" i="1" dirty="0">
                <a:latin typeface="Arial"/>
                <a:ea typeface="Times New Roman"/>
              </a:rPr>
              <a:t>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i="1" dirty="0">
                <a:latin typeface="Arial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       Insere a fatura na historico_num_notas_fiscais em CUST e ARQ “Insert01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       Atualiza a controle_num_notas_fiscais “Update01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   Fim Enquanto;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466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 INFORMAÇÃO DE ITEMS PARA TABELA HISTORICO_NOTAS_FISCAIS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100" dirty="0" smtClean="0">
                <a:latin typeface="Arial" pitchFamily="34" charset="0"/>
                <a:cs typeface="Arial" pitchFamily="34" charset="0"/>
              </a:rPr>
              <a:t>Atualizar a DAM 32626 e 8247 para inserir 2 novas informações </a:t>
            </a: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_BASE_CALCULO_SEM_REDUC e CD_MODELO_ICMS para tabela HISTORICO_NOTAS_FISCAIS 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346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HISTORICO_NOTAS_FISCAI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a a coluna VL_BASE_CALCULO_SEM_REDUC que contem o montante dos itens já excluídos pelo imposto rediuzido.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o o CD_MODELO_ICMS que indica os produtos de TV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15756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 INFORMAÇÃO DE ITEMS PARA TABELA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STORICO_NOTAS_FISCAI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191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hash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208905"/>
              </p:ext>
            </p:extLst>
          </p:nvPr>
        </p:nvGraphicFramePr>
        <p:xfrm>
          <a:off x="6504709" y="342246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504709" y="342246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057345"/>
              </p:ext>
            </p:extLst>
          </p:nvPr>
        </p:nvGraphicFramePr>
        <p:xfrm>
          <a:off x="6515100" y="413428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515100" y="413428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4510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2002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grama foi criado para atribuir uma nota fiscal aos itens aplicados com imposto ISS e inserir esta informação na nova tabela criada TB_HISTORICO_NOTAS_FISCAIS_ISS. Aqueles com open_item_id 10 e 78 foram gerados com nota fiscal única via seqüencia, caso contrario,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registros serão atribuídos com BILL_REF_NO.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1" y="4462024"/>
            <a:ext cx="5041400" cy="2002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#P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eriormente, o imposto ISS estava sendo processado nos programas numerador (bp_int_cb_sel_fat_numnf e bp_int_cb_numnf_hash).  Quando os produtos #Ps foram introduzidos, seus produtos da Fixa foram aplicados com imposto ISS diferente daquele da Móvel. Portanto, a alteração foi para separar a numeração do imposto ISS do processo existente e aplicar as novas regras na geração e atribuição de nota_fiscal. 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5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7325590" cy="981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 do </a:t>
            </a:r>
            <a:r>
              <a:rPr lang="pt-BR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tamento dos Impostos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objetivo principal deste módulo é agrupar impostos e atribuir o número de nota fiscal para cada open_item_id ou provedor de serviço em uma fatura. Cada nota fiscal será impressa na fatura do clien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será enviad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a relatórios de imposto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4252902"/>
            <a:ext cx="7325590" cy="1772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a demanda dos #Ps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dos produtos ofertados pelas demandas dos #Ps são os Produtos TV.  Estes produtos foram tratados de forma diferente e sob a nova regra que afirma que o imposto será reduzido, mas seus impostos não podem ser reembolsados quando o ajuste para a fatura é feito, seja sob o convênio 86 ou convênio 39. Com isso, um novo pacote de imposto foi criado e deve ser considerado no tratamento dos impostos.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mbém, para alguns dos produtos da Fixa dos #Ps será aplicado um imposto ISS diferente da móvel.  Como resultado, esta demanda irá separar a numeração do ICMS e ISS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70363303"/>
              </p:ext>
            </p:extLst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74322674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01363" y="1848620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529813" y="2725373"/>
            <a:ext cx="2777469" cy="467092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Obter o Ciclo e Período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3533953" y="3446751"/>
            <a:ext cx="2769825" cy="476643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ir as fatura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6" name="Flowchart: Alternate Process 25">
            <a:hlinkClick r:id="rId2" action="ppaction://hlinksldjump"/>
          </p:cNvPr>
          <p:cNvSpPr/>
          <p:nvPr/>
        </p:nvSpPr>
        <p:spPr>
          <a:xfrm>
            <a:off x="3533953" y="4158564"/>
            <a:ext cx="2769825" cy="476643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tribuir a NUM_NOTA_FISCAL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0" name="Flowchart: Alternate Process 29">
            <a:hlinkClick r:id="rId2" action="ppaction://hlinksldjump"/>
          </p:cNvPr>
          <p:cNvSpPr/>
          <p:nvPr/>
        </p:nvSpPr>
        <p:spPr>
          <a:xfrm>
            <a:off x="3529812" y="4873399"/>
            <a:ext cx="2769825" cy="476643"/>
          </a:xfrm>
          <a:prstGeom prst="flowChartAlternate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</a:t>
            </a:r>
            <a:r>
              <a:rPr lang="pt-BR" sz="1000" dirty="0">
                <a:solidFill>
                  <a:schemeClr val="tx1"/>
                </a:solidFill>
              </a:rPr>
              <a:t>as informações </a:t>
            </a:r>
            <a:r>
              <a:rPr lang="pt-BR" sz="1000" dirty="0" smtClean="0">
                <a:solidFill>
                  <a:schemeClr val="tx1"/>
                </a:solidFill>
              </a:rPr>
              <a:t>de itens na tabela TB_HISTORICO_NOTAS_FISCAIS_ISS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25" idx="0"/>
          </p:cNvCxnSpPr>
          <p:nvPr/>
        </p:nvCxnSpPr>
        <p:spPr>
          <a:xfrm>
            <a:off x="4918548" y="3192465"/>
            <a:ext cx="318" cy="2542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5" idx="2"/>
            <a:endCxn id="26" idx="0"/>
          </p:cNvCxnSpPr>
          <p:nvPr/>
        </p:nvCxnSpPr>
        <p:spPr>
          <a:xfrm>
            <a:off x="4918866" y="3923394"/>
            <a:ext cx="0" cy="23517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6" idx="2"/>
            <a:endCxn id="30" idx="0"/>
          </p:cNvCxnSpPr>
          <p:nvPr/>
        </p:nvCxnSpPr>
        <p:spPr>
          <a:xfrm flipH="1">
            <a:off x="4914725" y="4635207"/>
            <a:ext cx="4141" cy="2381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6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>
                <a:latin typeface="Arial"/>
                <a:ea typeface="Times New Roman"/>
                <a:cs typeface="Times New Roman"/>
              </a:rPr>
              <a:t>Pseudo-código: &lt;extrairDados&gt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dirty="0">
                <a:latin typeface="Courier New"/>
                <a:ea typeface="Times New Roman"/>
              </a:rPr>
              <a:t>INÍCIO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EXECUTAR SELECT01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ENQUANTO (Existe registros) FAÇA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    </a:t>
            </a:r>
            <a:r>
              <a:rPr lang="en-US" sz="900" dirty="0">
                <a:latin typeface="Courier New"/>
                <a:ea typeface="Times New Roman"/>
              </a:rPr>
              <a:t>SELECT02.input1 = </a:t>
            </a:r>
            <a:r>
              <a:rPr lang="en-US" sz="900" dirty="0" err="1">
                <a:latin typeface="Courier New"/>
                <a:ea typeface="Times New Roman"/>
              </a:rPr>
              <a:t>cod_processo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    SELECT02.input2 = </a:t>
            </a:r>
            <a:r>
              <a:rPr lang="en-US" sz="900" dirty="0" err="1">
                <a:latin typeface="Courier New"/>
                <a:ea typeface="Times New Roman"/>
              </a:rPr>
              <a:t>Primeiro</a:t>
            </a:r>
            <a:r>
              <a:rPr lang="en-US" sz="900" dirty="0">
                <a:latin typeface="Courier New"/>
                <a:ea typeface="Times New Roman"/>
              </a:rPr>
              <a:t> </a:t>
            </a:r>
            <a:r>
              <a:rPr lang="en-US" sz="900" dirty="0" err="1">
                <a:latin typeface="Courier New"/>
                <a:ea typeface="Times New Roman"/>
              </a:rPr>
              <a:t>caractere</a:t>
            </a:r>
            <a:r>
              <a:rPr lang="en-US" sz="900" dirty="0">
                <a:latin typeface="Courier New"/>
                <a:ea typeface="Times New Roman"/>
              </a:rPr>
              <a:t> de SELECT01.bill_period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    EXECUTAR SELECT02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    SELECT03.input1 = </a:t>
            </a:r>
            <a:r>
              <a:rPr lang="en-US" sz="900" dirty="0" err="1">
                <a:latin typeface="Courier New"/>
                <a:ea typeface="Times New Roman"/>
              </a:rPr>
              <a:t>Primeiro</a:t>
            </a:r>
            <a:r>
              <a:rPr lang="en-US" sz="900" dirty="0">
                <a:latin typeface="Courier New"/>
                <a:ea typeface="Times New Roman"/>
              </a:rPr>
              <a:t> </a:t>
            </a:r>
            <a:r>
              <a:rPr lang="en-US" sz="900" dirty="0" err="1">
                <a:latin typeface="Courier New"/>
                <a:ea typeface="Times New Roman"/>
              </a:rPr>
              <a:t>caractere</a:t>
            </a:r>
            <a:r>
              <a:rPr lang="en-US" sz="900" dirty="0">
                <a:latin typeface="Courier New"/>
                <a:ea typeface="Times New Roman"/>
              </a:rPr>
              <a:t> de SELECT01.bill_period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>
                <a:latin typeface="Courier New"/>
                <a:ea typeface="Times New Roman"/>
              </a:rPr>
              <a:t>    SELECT03.input2 = SELECT02.output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1233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O CICLO E PERÍODO PARA A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ECUÇÃO</a:t>
            </a: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riar 2 novas consultas para identificar o ciclo de clientes atualmente sendo processados e a data de processamento que será usada como base da fatura a ser extraída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79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err="1" smtClean="0"/>
              <a:t>Sem</a:t>
            </a:r>
            <a:r>
              <a:rPr lang="en-US" sz="1200" dirty="0" smtClean="0"/>
              <a:t> </a:t>
            </a:r>
            <a:r>
              <a:rPr lang="en-US" sz="1200" dirty="0" err="1" smtClean="0"/>
              <a:t>impacto</a:t>
            </a:r>
            <a:r>
              <a:rPr lang="en-US" sz="1200" dirty="0" smtClean="0"/>
              <a:t> </a:t>
            </a:r>
            <a:r>
              <a:rPr lang="en-US" sz="1200" dirty="0" err="1" smtClean="0"/>
              <a:t>nas</a:t>
            </a:r>
            <a:r>
              <a:rPr lang="en-US" sz="1200" dirty="0" smtClean="0"/>
              <a:t> </a:t>
            </a:r>
            <a:r>
              <a:rPr lang="en-US" sz="1200" dirty="0" err="1" smtClean="0"/>
              <a:t>tabelas</a:t>
            </a:r>
            <a:r>
              <a:rPr lang="en-US" sz="1200" dirty="0" smtClean="0"/>
              <a:t>.</a:t>
            </a:r>
            <a:endParaRPr lang="en-US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358087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O CICLO E PERÍODO PARA A EXECUÇÃO</a:t>
            </a: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5873677"/>
              </p:ext>
            </p:extLst>
          </p:nvPr>
        </p:nvGraphicFramePr>
        <p:xfrm>
          <a:off x="6390409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1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90409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1409389"/>
              </p:ext>
            </p:extLst>
          </p:nvPr>
        </p:nvGraphicFramePr>
        <p:xfrm>
          <a:off x="6390409" y="419662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2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390409" y="419662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803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>
                <a:latin typeface="Arial"/>
                <a:ea typeface="Times New Roman"/>
                <a:cs typeface="Times New Roman"/>
              </a:rPr>
              <a:t>Pseudo-código: &lt;extrairDados&gt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dirty="0">
                <a:latin typeface="Courier New"/>
                <a:ea typeface="Times New Roman"/>
              </a:rPr>
              <a:t>INÍCIO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 smtClean="0">
                <a:latin typeface="Courier New"/>
                <a:ea typeface="Times New Roman"/>
              </a:rPr>
              <a:t>…</a:t>
            </a:r>
          </a:p>
          <a:p>
            <a:endParaRPr lang="en-US" sz="900" dirty="0">
              <a:effectLst/>
              <a:latin typeface="Courier New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 SELECT03.input1 = </a:t>
            </a:r>
            <a:r>
              <a:rPr lang="en-US" sz="1100" dirty="0" err="1">
                <a:latin typeface="Courier New"/>
                <a:ea typeface="Times New Roman"/>
              </a:rPr>
              <a:t>Primeiro</a:t>
            </a:r>
            <a:r>
              <a:rPr lang="en-US" sz="1100" dirty="0">
                <a:latin typeface="Courier New"/>
                <a:ea typeface="Times New Roman"/>
              </a:rPr>
              <a:t> </a:t>
            </a:r>
            <a:r>
              <a:rPr lang="en-US" sz="1100" dirty="0" err="1">
                <a:latin typeface="Courier New"/>
                <a:ea typeface="Times New Roman"/>
              </a:rPr>
              <a:t>caractere</a:t>
            </a:r>
            <a:r>
              <a:rPr lang="en-US" sz="1100" dirty="0">
                <a:latin typeface="Courier New"/>
                <a:ea typeface="Times New Roman"/>
              </a:rPr>
              <a:t> de SELECT01.bill_period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    SELECT03.input2 = SELECT02.output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    EXECUTAR SELECT03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en-US" sz="1100" dirty="0">
                <a:latin typeface="Courier New"/>
                <a:ea typeface="Times New Roman"/>
              </a:rPr>
              <a:t>    </a:t>
            </a:r>
            <a:r>
              <a:rPr lang="pt-BR" sz="1100" dirty="0">
                <a:latin typeface="Courier New"/>
                <a:ea typeface="Times New Roman"/>
              </a:rPr>
              <a:t>ENQUANTO (Existe registros) FAÇA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Version Label: RL_NOV0112_55454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Linha: 471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Arial"/>
                <a:ea typeface="Times New Roman"/>
              </a:rPr>
              <a:t>	(INI REQ 55454_2)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SE open_item_id </a:t>
            </a:r>
            <a:r>
              <a:rPr lang="pt-BR" sz="1100" strike="sngStrike" dirty="0">
                <a:latin typeface="Courier New"/>
                <a:ea typeface="Times New Roman"/>
              </a:rPr>
              <a:t>= TELEMAR</a:t>
            </a:r>
            <a:r>
              <a:rPr lang="pt-BR" sz="1100" dirty="0">
                <a:latin typeface="Courier New"/>
                <a:ea typeface="Times New Roman"/>
              </a:rPr>
              <a:t> != MOVEL &amp;&amp; open_item_id != </a:t>
            </a:r>
            <a:r>
              <a:rPr lang="pt-BR" sz="1100" dirty="0">
                <a:latin typeface="Arial"/>
                <a:ea typeface="Times New Roman"/>
                <a:cs typeface="Times New Roman"/>
              </a:rPr>
              <a:t>TELEMAR</a:t>
            </a:r>
            <a:r>
              <a:rPr lang="pt-BR" sz="1100" dirty="0">
                <a:latin typeface="Courier New"/>
                <a:ea typeface="Times New Roman"/>
              </a:rPr>
              <a:t>  ENTA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Arial"/>
                <a:ea typeface="Times New Roman"/>
              </a:rPr>
              <a:t>	(FIM REQ 55454_2)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FATURAS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Criar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um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nstrução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select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xtrair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aturas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com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posto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ISS e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data de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ção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ior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que o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ríodo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xtraído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OI.PRODUCAO_HISTORICO.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26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err="1"/>
              <a:t>Sem</a:t>
            </a:r>
            <a:r>
              <a:rPr lang="en-US" sz="1200" dirty="0"/>
              <a:t> </a:t>
            </a:r>
            <a:r>
              <a:rPr lang="en-US" sz="1200" dirty="0" err="1"/>
              <a:t>impacto</a:t>
            </a:r>
            <a:r>
              <a:rPr lang="en-US" sz="1200" dirty="0"/>
              <a:t> </a:t>
            </a:r>
            <a:r>
              <a:rPr lang="en-US" sz="1200" dirty="0" err="1"/>
              <a:t>em</a:t>
            </a:r>
            <a:r>
              <a:rPr lang="en-US" sz="1200" dirty="0"/>
              <a:t> </a:t>
            </a:r>
            <a:r>
              <a:rPr lang="en-US" sz="1200" dirty="0" err="1"/>
              <a:t>quaisquer</a:t>
            </a:r>
            <a:r>
              <a:rPr lang="en-US" sz="1200" dirty="0"/>
              <a:t> </a:t>
            </a:r>
            <a:r>
              <a:rPr lang="en-US" sz="1200" dirty="0" err="1"/>
              <a:t>tabelas</a:t>
            </a:r>
            <a:endParaRPr lang="en-US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358087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O CICLO E PERÍODO PARA A EXECUÇÃO</a:t>
            </a: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1560640"/>
              </p:ext>
            </p:extLst>
          </p:nvPr>
        </p:nvGraphicFramePr>
        <p:xfrm>
          <a:off x="6328064" y="354018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3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28064" y="354018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452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>
                <a:latin typeface="Arial"/>
                <a:ea typeface="Times New Roman"/>
                <a:cs typeface="Times New Roman"/>
              </a:rPr>
              <a:t>Pseudo-código: &lt;extrairDados&gt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dirty="0">
                <a:latin typeface="Courier New"/>
                <a:ea typeface="Times New Roman"/>
              </a:rPr>
              <a:t>INÍCIO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 smtClean="0">
                <a:latin typeface="Courier New"/>
                <a:ea typeface="Times New Roman"/>
              </a:rPr>
              <a:t>…</a:t>
            </a:r>
          </a:p>
          <a:p>
            <a:endParaRPr lang="en-US" sz="900" dirty="0">
              <a:effectLst/>
              <a:latin typeface="Courier New"/>
              <a:ea typeface="Times New Roman"/>
            </a:endParaRPr>
          </a:p>
          <a:p>
            <a:r>
              <a:rPr lang="en-US" sz="1100" dirty="0" smtClean="0">
                <a:latin typeface="Courier New"/>
                <a:ea typeface="Times New Roman"/>
              </a:rPr>
              <a:t> </a:t>
            </a:r>
            <a:r>
              <a:rPr lang="pt-BR" sz="1100" dirty="0">
                <a:latin typeface="Courier New"/>
                <a:ea typeface="Times New Roman"/>
              </a:rPr>
              <a:t>ENQUANTO (Existe registros) FAÇA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Version Label: RL_NOV0112_55454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400" dirty="0">
                <a:latin typeface="Arial"/>
                <a:ea typeface="Times New Roman"/>
              </a:rPr>
              <a:t>Linha: 471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Arial"/>
                <a:ea typeface="Times New Roman"/>
              </a:rPr>
              <a:t>	(INI REQ 55454_2)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SE open_item_id </a:t>
            </a:r>
            <a:r>
              <a:rPr lang="pt-BR" sz="1100" strike="sngStrike" dirty="0">
                <a:latin typeface="Courier New"/>
                <a:ea typeface="Times New Roman"/>
              </a:rPr>
              <a:t>= TELEMAR</a:t>
            </a:r>
            <a:r>
              <a:rPr lang="pt-BR" sz="1100" dirty="0">
                <a:latin typeface="Courier New"/>
                <a:ea typeface="Times New Roman"/>
              </a:rPr>
              <a:t> != MOVEL &amp;&amp; open_item_id != </a:t>
            </a:r>
            <a:r>
              <a:rPr lang="pt-BR" sz="1100" dirty="0">
                <a:latin typeface="Arial"/>
                <a:ea typeface="Times New Roman"/>
                <a:cs typeface="Times New Roman"/>
              </a:rPr>
              <a:t>TELEMAR</a:t>
            </a:r>
            <a:r>
              <a:rPr lang="pt-BR" sz="1100" dirty="0">
                <a:latin typeface="Courier New"/>
                <a:ea typeface="Times New Roman"/>
              </a:rPr>
              <a:t>  ENTA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Arial"/>
                <a:ea typeface="Times New Roman"/>
              </a:rPr>
              <a:t>	(FIM REQ 55454_2)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    EXECUTAR FUNÇÃO </a:t>
            </a:r>
            <a:r>
              <a:rPr lang="pt-BR" sz="1100" b="1" dirty="0">
                <a:latin typeface="Courier New"/>
                <a:ea typeface="Times New Roman"/>
              </a:rPr>
              <a:t>Obter Proximo Valor da Sequencia de notas fiscais de ISS Fix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    Definir o número da Nota Fiscal para o próximo valor da 			seqüência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SENA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    Definir o número da Nota Fiscal o valor de BILL_REF_NO        	  FIM SE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IBUIR A NUM_NOTA_FISCAL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Neste fluxo, o open_item_id está sendo avaliado. Estes registros com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open_item_id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de itens de faturamento (90 e 12) serão atribuídos com BILL_REF_NO enquanto os outros serão atribuídos com um número único e sequencial de NUM_NOTA_FISCAL  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7122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err="1" smtClean="0"/>
              <a:t>Sem</a:t>
            </a:r>
            <a:r>
              <a:rPr lang="en-US" sz="1200" dirty="0" smtClean="0"/>
              <a:t> </a:t>
            </a:r>
            <a:r>
              <a:rPr lang="en-US" sz="1200" dirty="0" err="1" smtClean="0"/>
              <a:t>impacto</a:t>
            </a:r>
            <a:r>
              <a:rPr lang="en-US" sz="1200" dirty="0" smtClean="0"/>
              <a:t> </a:t>
            </a:r>
            <a:r>
              <a:rPr lang="en-US" sz="1200" dirty="0" err="1" smtClean="0"/>
              <a:t>em</a:t>
            </a:r>
            <a:r>
              <a:rPr lang="en-US" sz="1200" dirty="0" smtClean="0"/>
              <a:t> </a:t>
            </a:r>
            <a:r>
              <a:rPr lang="en-US" sz="1200" dirty="0" err="1" smtClean="0"/>
              <a:t>quaisquer</a:t>
            </a:r>
            <a:r>
              <a:rPr lang="en-US" sz="1200" dirty="0" smtClean="0"/>
              <a:t> </a:t>
            </a:r>
            <a:r>
              <a:rPr lang="en-US" sz="1200" dirty="0" err="1" smtClean="0"/>
              <a:t>tabelas</a:t>
            </a:r>
            <a:r>
              <a:rPr lang="en-US" sz="1200" dirty="0" smtClean="0"/>
              <a:t>.</a:t>
            </a:r>
            <a:endParaRPr lang="en-US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31271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IBUIR A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_NOTA_FISCAL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1170110"/>
              </p:ext>
            </p:extLst>
          </p:nvPr>
        </p:nvGraphicFramePr>
        <p:xfrm>
          <a:off x="6276109" y="354345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5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76109" y="354345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31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5220" y="2073124"/>
            <a:ext cx="4344523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IBUIR 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_NOTA_FISCAL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Mockup 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not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isciais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iss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6560" y="3016019"/>
            <a:ext cx="5431790" cy="1719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03359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>
                <a:latin typeface="Arial"/>
                <a:ea typeface="Times New Roman"/>
                <a:cs typeface="Times New Roman"/>
              </a:rPr>
              <a:t>Pseudo-código: &lt;extrairDados&gt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dirty="0">
                <a:latin typeface="Courier New"/>
                <a:ea typeface="Times New Roman"/>
              </a:rPr>
              <a:t>INÍCIO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en-US" sz="900" dirty="0" smtClean="0">
                <a:latin typeface="Courier New"/>
                <a:ea typeface="Times New Roman"/>
              </a:rPr>
              <a:t>…</a:t>
            </a:r>
          </a:p>
          <a:p>
            <a:endParaRPr lang="en-US" sz="900" dirty="0">
              <a:effectLst/>
              <a:latin typeface="Courier New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	  Preencher os campos de entrada de INSERT01 seguinte arquivo de data 		mapping.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 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SE erro ENTÂ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	      Registrar uma mensagem de err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SE NAO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    Insere a dados na tb_historico_notas_fiscais_iss em CUST e ARQ “Insert01”;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    Criar checkpoint</a:t>
            </a:r>
            <a:endParaRPr lang="en-US" sz="16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        FIM SE</a:t>
            </a:r>
            <a:endParaRPr lang="en-US" sz="11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0" y="2114687"/>
            <a:ext cx="4450289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S INFORMAÇÕES DE ITENS NA TABELA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_HISTORICO_NOTAS_FISCAIS_ISS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Neste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lux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, a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nformaç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conjunt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com o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num_nota_fiscal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gerad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rá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nserid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n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 TB_HISTORICO_NOTAS_FISCAIS_ISS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298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err="1" smtClean="0"/>
              <a:t>Sem</a:t>
            </a:r>
            <a:r>
              <a:rPr lang="en-US" sz="1200" dirty="0" smtClean="0"/>
              <a:t> </a:t>
            </a:r>
            <a:r>
              <a:rPr lang="en-US" sz="1200" dirty="0" err="1" smtClean="0"/>
              <a:t>impacto</a:t>
            </a:r>
            <a:r>
              <a:rPr lang="en-US" sz="1200" dirty="0" smtClean="0"/>
              <a:t> </a:t>
            </a:r>
            <a:r>
              <a:rPr lang="en-US" sz="1200" dirty="0" err="1" smtClean="0"/>
              <a:t>em</a:t>
            </a:r>
            <a:r>
              <a:rPr lang="en-US" sz="1200" dirty="0" smtClean="0"/>
              <a:t> </a:t>
            </a:r>
            <a:r>
              <a:rPr lang="en-US" sz="1200" dirty="0" err="1" smtClean="0"/>
              <a:t>quaisquer</a:t>
            </a:r>
            <a:r>
              <a:rPr lang="en-US" sz="1200" dirty="0" smtClean="0"/>
              <a:t> </a:t>
            </a:r>
            <a:r>
              <a:rPr lang="en-US" sz="1200" dirty="0" err="1" smtClean="0"/>
              <a:t>tabelas</a:t>
            </a:r>
            <a:r>
              <a:rPr lang="en-US" sz="1200" dirty="0" smtClean="0"/>
              <a:t>.</a:t>
            </a:r>
            <a:endParaRPr lang="en-US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19" y="2073124"/>
            <a:ext cx="558675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S INFORMAÇÕES DE ITENS NA TABELA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_HISTORICO_NOTAS_FISCAIS_ISS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498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numnf_iss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3662271"/>
              </p:ext>
            </p:extLst>
          </p:nvPr>
        </p:nvGraphicFramePr>
        <p:xfrm>
          <a:off x="5985163" y="354345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85163" y="354345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6635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Programa e fluxo de </a:t>
            </a:r>
            <a:r>
              <a:rPr lang="pt-BR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tamento dos Impostos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30" y="2436195"/>
            <a:ext cx="422821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 Impactados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sel_fat_numnf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numnf_hash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numnf_iss.sh</a:t>
            </a:r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43500" y="2439227"/>
            <a:ext cx="1837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módulo</a:t>
            </a:r>
            <a:endParaRPr lang="pt-BR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92281" y="3678380"/>
            <a:ext cx="2265219" cy="619473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P_INT_CB_SEL_FAT_NUMNF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592282" y="4449734"/>
            <a:ext cx="2265218" cy="619473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P_INT_CB_NUMNF_HASH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592282" y="5268189"/>
            <a:ext cx="2265218" cy="619473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P_INT_CB_NUMNF_ISS</a:t>
            </a:r>
          </a:p>
        </p:txBody>
      </p:sp>
      <p:sp>
        <p:nvSpPr>
          <p:cNvPr id="5" name="Rectangle 4"/>
          <p:cNvSpPr/>
          <p:nvPr/>
        </p:nvSpPr>
        <p:spPr>
          <a:xfrm>
            <a:off x="3522517" y="3678380"/>
            <a:ext cx="2795156" cy="333759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TMP_SELECAO_FATURAS_A_FATURA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522516" y="4238237"/>
            <a:ext cx="2795156" cy="3337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EXECUCAO_NUMERADO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522516" y="4676761"/>
            <a:ext cx="2795156" cy="41131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HISTORICO_NOTAS_FISCAIS</a:t>
            </a:r>
          </a:p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(HISTORICO_NF_PROFORMA)</a:t>
            </a:r>
            <a:endParaRPr lang="pt-BR" sz="1200" dirty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522517" y="5306282"/>
            <a:ext cx="2795156" cy="333759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CONTROLE_NUM_NOTAS_FISCAI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519051" y="5769170"/>
            <a:ext cx="2795156" cy="333759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TB_HISTORICO_NOTAS_FISCAIS_ISS</a:t>
            </a:r>
          </a:p>
        </p:txBody>
      </p:sp>
      <p:cxnSp>
        <p:nvCxnSpPr>
          <p:cNvPr id="7" name="Straight Arrow Connector 6"/>
          <p:cNvCxnSpPr>
            <a:stCxn id="3" idx="3"/>
            <a:endCxn id="5" idx="1"/>
          </p:cNvCxnSpPr>
          <p:nvPr/>
        </p:nvCxnSpPr>
        <p:spPr>
          <a:xfrm flipV="1">
            <a:off x="2857500" y="3845260"/>
            <a:ext cx="665017" cy="1428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18" idx="3"/>
            <a:endCxn id="21" idx="1"/>
          </p:cNvCxnSpPr>
          <p:nvPr/>
        </p:nvCxnSpPr>
        <p:spPr>
          <a:xfrm flipV="1">
            <a:off x="2857500" y="4405117"/>
            <a:ext cx="665016" cy="3543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8" idx="3"/>
            <a:endCxn id="23" idx="1"/>
          </p:cNvCxnSpPr>
          <p:nvPr/>
        </p:nvCxnSpPr>
        <p:spPr>
          <a:xfrm>
            <a:off x="2857500" y="4759471"/>
            <a:ext cx="665016" cy="1229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18" idx="3"/>
            <a:endCxn id="26" idx="1"/>
          </p:cNvCxnSpPr>
          <p:nvPr/>
        </p:nvCxnSpPr>
        <p:spPr>
          <a:xfrm>
            <a:off x="2857500" y="4759471"/>
            <a:ext cx="665017" cy="71369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9" idx="3"/>
            <a:endCxn id="30" idx="1"/>
          </p:cNvCxnSpPr>
          <p:nvPr/>
        </p:nvCxnSpPr>
        <p:spPr>
          <a:xfrm>
            <a:off x="2857500" y="5577926"/>
            <a:ext cx="661551" cy="3581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Punched Tape 34"/>
          <p:cNvSpPr/>
          <p:nvPr/>
        </p:nvSpPr>
        <p:spPr>
          <a:xfrm>
            <a:off x="7491845" y="4539576"/>
            <a:ext cx="1267690" cy="738915"/>
          </a:xfrm>
          <a:prstGeom prst="flowChartPunchedTap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IF FEEDFILE/</a:t>
            </a:r>
          </a:p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FATURA</a:t>
            </a:r>
          </a:p>
        </p:txBody>
      </p:sp>
      <p:cxnSp>
        <p:nvCxnSpPr>
          <p:cNvPr id="37" name="Straight Arrow Connector 36"/>
          <p:cNvCxnSpPr>
            <a:stCxn id="3" idx="2"/>
            <a:endCxn id="18" idx="0"/>
          </p:cNvCxnSpPr>
          <p:nvPr/>
        </p:nvCxnSpPr>
        <p:spPr>
          <a:xfrm>
            <a:off x="1724891" y="4297853"/>
            <a:ext cx="0" cy="15188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lowchart: Punched Tape 37"/>
          <p:cNvSpPr/>
          <p:nvPr/>
        </p:nvSpPr>
        <p:spPr>
          <a:xfrm>
            <a:off x="7450280" y="5594928"/>
            <a:ext cx="1267690" cy="738915"/>
          </a:xfrm>
          <a:prstGeom prst="flowChartPunchedTap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RELATÓRIO DE IMPOSTOS</a:t>
            </a:r>
          </a:p>
        </p:txBody>
      </p:sp>
      <p:cxnSp>
        <p:nvCxnSpPr>
          <p:cNvPr id="40" name="Straight Arrow Connector 39"/>
          <p:cNvCxnSpPr>
            <a:stCxn id="23" idx="3"/>
            <a:endCxn id="35" idx="1"/>
          </p:cNvCxnSpPr>
          <p:nvPr/>
        </p:nvCxnSpPr>
        <p:spPr>
          <a:xfrm>
            <a:off x="6317672" y="4882419"/>
            <a:ext cx="1174173" cy="266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23" idx="3"/>
            <a:endCxn id="38" idx="1"/>
          </p:cNvCxnSpPr>
          <p:nvPr/>
        </p:nvCxnSpPr>
        <p:spPr>
          <a:xfrm>
            <a:off x="6317672" y="4882419"/>
            <a:ext cx="1132608" cy="10819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30" idx="3"/>
            <a:endCxn id="38" idx="1"/>
          </p:cNvCxnSpPr>
          <p:nvPr/>
        </p:nvCxnSpPr>
        <p:spPr>
          <a:xfrm>
            <a:off x="6314207" y="5936050"/>
            <a:ext cx="1136073" cy="283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stCxn id="30" idx="3"/>
            <a:endCxn id="35" idx="1"/>
          </p:cNvCxnSpPr>
          <p:nvPr/>
        </p:nvCxnSpPr>
        <p:spPr>
          <a:xfrm flipV="1">
            <a:off x="6314207" y="4909034"/>
            <a:ext cx="1177638" cy="1027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792523"/>
            <a:ext cx="5041400" cy="2990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grama extraí todos os itens de fatura com imposto ICMS em um dado ciclo da fatura. Este processo agrupa os itens por bill_ref_no, bill_ref_resets, estados (UF), open_item_id e statement_date (mês e ano) e totaliza os valores de imposto ICMS e seu montante baseado.  As informações processadas são inseridas na tabela temporária TMP_SELECAO_FATURAS_A_FATURAR.</a:t>
            </a:r>
          </a:p>
          <a:p>
            <a:pPr marL="846781" lvl="2" algn="just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ém disso, este processo também determina as contas com ajustes em suas faturas anteriores. Sob o convênio 86, qualquer imposto correspondente ao ajuste pode ser deduzido do imposto atual como forma de reembolso do governo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4617270"/>
            <a:ext cx="5041400" cy="2002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#Ps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emanda dos #Ps oferta produtos TV e introduz uma nova abordagem na taxação deles.  Enquanto estes produtos serão aplicados com imposto reduzido, a Oi não terá autorização para reembolsar uma vez que o ajuste seja feito no item.  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esta nova regra, a solução foi criar um novo pacote de imposto [REDUC TAX] que reduziria o imposto ICMS aplicado por Estado.  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1862807"/>
            <a:ext cx="5041400" cy="4769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s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 resultado, o programa bp_int_cb_sel_fat_numnf foi modificado para considerar o imposto reduzido na computação da Base de Cálculo do imposto ICMS.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alteração inclui a modificação da tabel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mporári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MP_SELECAO_FATURAS_A_FATURAR para adicionar as duas novas colunas VL_BASE_CALCULO_SEM_REDUC e CD_MODELO_ICMS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tras Modificações: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moç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2 parâmetros da linha de comando [open_item_id_billing e provider_id_billing] para permitir ao programa ser executado independente se é Móvel ou WLL.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são de uma nova informação [cd_modelo_icms] que diferencia produtos de TV de outros itens.  CD_MODELO_ICMS 21 será atribuído aos itens com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96 [Oi TV] e 97 [Oi Comunicações] enquanto que CD_MODELO_ICMS 22 foi definido para outros itens.</a:t>
            </a:r>
          </a:p>
          <a:p>
            <a:pPr marL="1018231" lvl="2" indent="-171450">
              <a:lnSpc>
                <a:spcPct val="107000"/>
              </a:lnSpc>
              <a:buFont typeface="Wingdings"/>
              <a:buChar char="è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moç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 extração de registros com imposto ISS.</a:t>
            </a:r>
          </a:p>
          <a:p>
            <a:pPr marL="846781" lvl="2">
              <a:lnSpc>
                <a:spcPct val="107000"/>
              </a:lnSpc>
            </a:pP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05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727239" y="1806726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727240" y="2317673"/>
            <a:ext cx="2777469" cy="467092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Buscar o período para processar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3731380" y="3039051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ir todos os itens com imposto IC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6" name="Flowchart: Alternate Process 25">
            <a:hlinkClick r:id="rId2" action="ppaction://hlinksldjump"/>
          </p:cNvPr>
          <p:cNvSpPr/>
          <p:nvPr/>
        </p:nvSpPr>
        <p:spPr>
          <a:xfrm>
            <a:off x="3731380" y="3750864"/>
            <a:ext cx="2769825" cy="476643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Buscar por ajustes de conta elegível para reembolso/recuperação sob o convênio 86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0" name="Flowchart: Alternate Process 29">
            <a:hlinkClick r:id="rId2" action="ppaction://hlinksldjump"/>
          </p:cNvPr>
          <p:cNvSpPr/>
          <p:nvPr/>
        </p:nvSpPr>
        <p:spPr>
          <a:xfrm>
            <a:off x="3727239" y="4465699"/>
            <a:ext cx="2769825" cy="476643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detalhes da tabela de ajustes para TBI_CONVENIO86_RECUP_ICMS e TBI_CONVENIO86_RECUPER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1" name="Flowchart: Alternate Process 30">
            <a:hlinkClick r:id="rId2" action="ppaction://hlinksldjump"/>
          </p:cNvPr>
          <p:cNvSpPr/>
          <p:nvPr/>
        </p:nvSpPr>
        <p:spPr>
          <a:xfrm>
            <a:off x="3727239" y="5177512"/>
            <a:ext cx="2769825" cy="476643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Atualizar o campo FL_C86_PROCESSADO  de TBI_CONTESTACAO_MOVEL para indicar que a contestação foi processada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3" name="Flowchart: Alternate Process 32">
            <a:hlinkClick r:id="rId2" action="ppaction://hlinksldjump"/>
          </p:cNvPr>
          <p:cNvSpPr/>
          <p:nvPr/>
        </p:nvSpPr>
        <p:spPr>
          <a:xfrm>
            <a:off x="3727239" y="5889325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a informação de itens na tabela temporária TMP_SELECAO_FATURAS_A_FATURAR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25" idx="0"/>
          </p:cNvCxnSpPr>
          <p:nvPr/>
        </p:nvCxnSpPr>
        <p:spPr>
          <a:xfrm>
            <a:off x="5115975" y="2784765"/>
            <a:ext cx="318" cy="254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5" idx="2"/>
            <a:endCxn id="26" idx="0"/>
          </p:cNvCxnSpPr>
          <p:nvPr/>
        </p:nvCxnSpPr>
        <p:spPr>
          <a:xfrm>
            <a:off x="5116293" y="3515694"/>
            <a:ext cx="0" cy="235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6" idx="2"/>
            <a:endCxn id="30" idx="0"/>
          </p:cNvCxnSpPr>
          <p:nvPr/>
        </p:nvCxnSpPr>
        <p:spPr>
          <a:xfrm flipH="1">
            <a:off x="5112152" y="4227507"/>
            <a:ext cx="4141" cy="2381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0" idx="2"/>
            <a:endCxn id="31" idx="0"/>
          </p:cNvCxnSpPr>
          <p:nvPr/>
        </p:nvCxnSpPr>
        <p:spPr>
          <a:xfrm>
            <a:off x="5112152" y="4942342"/>
            <a:ext cx="0" cy="235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31" idx="2"/>
            <a:endCxn id="33" idx="0"/>
          </p:cNvCxnSpPr>
          <p:nvPr/>
        </p:nvCxnSpPr>
        <p:spPr>
          <a:xfrm>
            <a:off x="5112152" y="5654155"/>
            <a:ext cx="0" cy="235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167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Insere a fatura na tabela tmp_faturas_a_numerar "Insert01";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AtualizaSelecaoFaturasFaturar(  strDAM32512Out.dBillRefNo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   </a:t>
            </a:r>
            <a:r>
              <a:rPr lang="pt-BR" sz="900" dirty="0">
                <a:latin typeface="Arial"/>
                <a:ea typeface="Times New Roman"/>
              </a:rPr>
              <a:t>strDAM32512Out.dBillRefResets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 </a:t>
            </a:r>
            <a:r>
              <a:rPr lang="pt-BR" sz="900" dirty="0" smtClean="0">
                <a:latin typeface="Arial"/>
                <a:ea typeface="Times New Roman"/>
              </a:rPr>
              <a:t>  strDAM32512Out.dAccountNo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   </a:t>
            </a:r>
            <a:r>
              <a:rPr lang="pt-BR" sz="900" dirty="0" smtClean="0">
                <a:latin typeface="Arial"/>
                <a:ea typeface="Times New Roman"/>
              </a:rPr>
              <a:t>strDAM32512Out.dParentId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   strDAM32512Out.dHierarchyID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   strDAM32512Out.uiMktCode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   </a:t>
            </a:r>
            <a:r>
              <a:rPr lang="pt-BR" sz="900" dirty="0" smtClean="0">
                <a:latin typeface="Arial"/>
                <a:ea typeface="Times New Roman"/>
              </a:rPr>
              <a:t>strDAM32512Out.stnumDocCliente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   </a:t>
            </a:r>
            <a:r>
              <a:rPr lang="pt-BR" sz="900" dirty="0" smtClean="0">
                <a:latin typeface="Arial"/>
                <a:ea typeface="Times New Roman"/>
              </a:rPr>
              <a:t>strDAM32512Out.dTotalAmount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   </a:t>
            </a:r>
            <a:r>
              <a:rPr lang="en-US" sz="900" dirty="0" smtClean="0">
                <a:latin typeface="Arial"/>
                <a:ea typeface="Times New Roman"/>
              </a:rPr>
              <a:t>strDAM32512Out.dAmount </a:t>
            </a:r>
            <a:r>
              <a:rPr lang="en-US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highlight>
                  <a:srgbClr val="FFFF00"/>
                </a:highlight>
                <a:latin typeface="Arial"/>
                <a:ea typeface="Times New Roman"/>
              </a:rPr>
              <a:t>strDAM32512Out.TaxAmount </a:t>
            </a:r>
            <a:r>
              <a:rPr lang="en-US" sz="900" dirty="0">
                <a:highlight>
                  <a:srgbClr val="FFFF00"/>
                </a:highlight>
                <a:latin typeface="Arial"/>
                <a:ea typeface="Times New Roman"/>
              </a:rPr>
              <a:t>, /* </a:t>
            </a:r>
            <a:r>
              <a:rPr lang="en-US" sz="800" dirty="0">
                <a:highlight>
                  <a:srgbClr val="FFFF00"/>
                </a:highlight>
                <a:latin typeface="Arial"/>
                <a:ea typeface="Times New Roman"/>
              </a:rPr>
              <a:t>(strDAM32512Out.tax_amount_icms)</a:t>
            </a:r>
            <a:r>
              <a:rPr lang="en-US" sz="800" dirty="0">
                <a:latin typeface="Arial"/>
                <a:ea typeface="Times New Roman"/>
              </a:rPr>
              <a:t>*/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strDAM32512Out.dOpenItemID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(</a:t>
            </a:r>
            <a:r>
              <a:rPr lang="pt-BR" sz="900" i="1" dirty="0">
                <a:highlight>
                  <a:srgbClr val="FFFF00"/>
                </a:highlight>
                <a:latin typeface="Arial"/>
                <a:ea typeface="Times New Roman"/>
              </a:rPr>
              <a:t>INI REQ 55454)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strDAM32512Out.base_calc_sem_red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strDAM32512Out.tax_amount_red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strDAM32512Out.Open_item_id_billing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strDAM32512Out.Provider_id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strike="sngStrike" dirty="0" err="1" smtClean="0">
                <a:highlight>
                  <a:srgbClr val="FFFF00"/>
                </a:highlight>
                <a:latin typeface="Arial"/>
                <a:ea typeface="Times New Roman"/>
              </a:rPr>
              <a:t>iOpenItem</a:t>
            </a:r>
            <a:r>
              <a:rPr lang="en-US" sz="900" i="1" strike="sngStrike" dirty="0">
                <a:highlight>
                  <a:srgbClr val="FFFF00"/>
                </a:highlight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strike="sngStrike" dirty="0" err="1" smtClean="0">
                <a:highlight>
                  <a:srgbClr val="FFFF00"/>
                </a:highlight>
                <a:latin typeface="Arial"/>
                <a:ea typeface="Times New Roman"/>
              </a:rPr>
              <a:t>uiProviderIdBill</a:t>
            </a:r>
            <a:r>
              <a:rPr lang="en-US" sz="900" i="1" strike="sngStrike" dirty="0">
                <a:highlight>
                  <a:srgbClr val="FFFF00"/>
                </a:highlight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i="1" dirty="0" smtClean="0">
                <a:highlight>
                  <a:srgbClr val="FFFF00"/>
                </a:highlight>
                <a:latin typeface="Arial"/>
                <a:ea typeface="Times New Roman"/>
              </a:rPr>
              <a:t>(</a:t>
            </a:r>
            <a:r>
              <a:rPr lang="en-US" sz="900" i="1" dirty="0">
                <a:highlight>
                  <a:srgbClr val="FFFF00"/>
                </a:highlight>
                <a:latin typeface="Arial"/>
                <a:ea typeface="Times New Roman"/>
              </a:rPr>
              <a:t>FIM REQ 55454)</a:t>
            </a:r>
            <a:r>
              <a:rPr lang="en-US" sz="900" i="1" dirty="0">
                <a:latin typeface="Arial"/>
                <a:ea typeface="Times New Roman"/>
              </a:rPr>
              <a:t>  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err="1" smtClean="0">
                <a:latin typeface="Arial"/>
                <a:ea typeface="Times New Roman"/>
              </a:rPr>
              <a:t>stStatementDt</a:t>
            </a:r>
            <a:r>
              <a:rPr lang="en-US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strDAM32512Out.stSiglaUf</a:t>
            </a:r>
            <a:r>
              <a:rPr lang="en-US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strDAM32511Out.stBillPeriod</a:t>
            </a:r>
            <a:r>
              <a:rPr lang="en-US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err="1" smtClean="0">
                <a:latin typeface="Arial"/>
                <a:ea typeface="Times New Roman"/>
              </a:rPr>
              <a:t>stTipoExec</a:t>
            </a:r>
            <a:r>
              <a:rPr lang="en-US" sz="900" dirty="0" smtClean="0">
                <a:latin typeface="Arial"/>
                <a:ea typeface="Times New Roman"/>
              </a:rPr>
              <a:t>,                                      </a:t>
            </a:r>
            <a:r>
              <a:rPr lang="pt-BR" sz="900" dirty="0">
                <a:latin typeface="Arial"/>
                <a:ea typeface="Times New Roman"/>
              </a:rPr>
              <a:t>strConvenio86Recuperado.dOrigTotalNF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strConvenio86Recuperado.dIcmsRecuperado</a:t>
            </a:r>
            <a:r>
              <a:rPr lang="pt-BR" sz="900" dirty="0">
                <a:latin typeface="Arial"/>
                <a:ea typeface="Times New Roman"/>
              </a:rPr>
              <a:t>,</a:t>
            </a:r>
            <a:endParaRPr lang="en-US" sz="1100" dirty="0">
              <a:latin typeface="Times New Roman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latin typeface="Arial"/>
                <a:ea typeface="Times New Roman"/>
              </a:rPr>
              <a:t>strConvenio86Recuperado.dVlRecuperado </a:t>
            </a:r>
            <a:r>
              <a:rPr lang="pt-BR" sz="900" dirty="0">
                <a:latin typeface="Arial"/>
                <a:ea typeface="Times New Roman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pPr marL="217170" marR="0">
              <a:spcBef>
                <a:spcPts val="0"/>
              </a:spcBef>
              <a:spcAft>
                <a:spcPts val="0"/>
              </a:spcAft>
            </a:pPr>
            <a:r>
              <a:rPr lang="pt-BR" sz="900" dirty="0">
                <a:latin typeface="Arial"/>
                <a:ea typeface="Times New Roman"/>
              </a:rPr>
              <a:t>Fim Enquanto “Fatura”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latin typeface="Arial"/>
                <a:ea typeface="Times New Roman"/>
              </a:rPr>
              <a:t>  Fim_Enquanto”Ciclo</a:t>
            </a:r>
            <a:r>
              <a:rPr lang="pt-BR" sz="900" dirty="0" smtClean="0">
                <a:latin typeface="Arial"/>
                <a:ea typeface="Times New Roman"/>
              </a:rPr>
              <a:t>”;</a:t>
            </a:r>
            <a:endParaRPr lang="en-US" sz="1100" dirty="0"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TODOS OS ITEMS COM IMPOST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CMS</a:t>
            </a: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a alteração permite o programa extrair todos os itens e calcular os impostos e base de cálculo considerando o novo pacote de imposto REDUC, o tipo de pacote de imposto que irá reduzir o imposto ICMS aplicado aos produtos TV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723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AX_PKG_INST_ID_VALUE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a nova configuração do novo pacote de imposto [REDUC]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388352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TODOS OS ITEMS COM IMPOSTO ICMS 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8372575"/>
              </p:ext>
            </p:extLst>
          </p:nvPr>
        </p:nvGraphicFramePr>
        <p:xfrm>
          <a:off x="5891645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891645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tamento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stos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 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412722"/>
            <a:ext cx="390698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b="1" dirty="0" err="1" smtClean="0"/>
              <a:t>Pseudo-código</a:t>
            </a:r>
            <a:r>
              <a:rPr lang="pt-BR" sz="1100" b="1" dirty="0" smtClean="0"/>
              <a:t>: &lt;</a:t>
            </a:r>
            <a:r>
              <a:rPr lang="pt-BR" sz="1100" dirty="0" smtClean="0"/>
              <a:t> </a:t>
            </a:r>
            <a:r>
              <a:rPr lang="pt-BR" sz="1100" b="1" dirty="0" err="1" smtClean="0"/>
              <a:t>AtualizaSelecaoFaturasFaturar</a:t>
            </a:r>
            <a:r>
              <a:rPr lang="pt-BR" sz="1100" b="1" dirty="0" smtClean="0"/>
              <a:t> &gt;</a:t>
            </a:r>
            <a:endParaRPr lang="pt-BR" sz="1100" dirty="0" smtClean="0"/>
          </a:p>
          <a:p>
            <a:r>
              <a:rPr lang="pt-BR" sz="1100" dirty="0" smtClean="0"/>
              <a:t> </a:t>
            </a:r>
          </a:p>
          <a:p>
            <a:r>
              <a:rPr lang="pt-BR" sz="1100" b="1" dirty="0" smtClean="0"/>
              <a:t>Inicio</a:t>
            </a:r>
            <a:endParaRPr lang="pt-BR" sz="1100" dirty="0" smtClean="0"/>
          </a:p>
          <a:p>
            <a:r>
              <a:rPr lang="pt-BR" sz="1100" b="1" dirty="0" smtClean="0"/>
              <a:t> </a:t>
            </a:r>
            <a:endParaRPr lang="pt-BR" sz="1100" dirty="0" smtClean="0"/>
          </a:p>
          <a:p>
            <a:r>
              <a:rPr lang="pt-BR" sz="1100" b="1" dirty="0" smtClean="0"/>
              <a:t>               ...</a:t>
            </a:r>
            <a:endParaRPr lang="pt-BR" sz="1100" dirty="0" smtClean="0"/>
          </a:p>
          <a:p>
            <a:r>
              <a:rPr lang="pt-BR" sz="1100" dirty="0" smtClean="0"/>
              <a:t>	</a:t>
            </a:r>
          </a:p>
          <a:p>
            <a:pPr marL="896620" marR="0">
              <a:spcBef>
                <a:spcPts val="0"/>
              </a:spcBef>
              <a:spcAft>
                <a:spcPts val="0"/>
              </a:spcAft>
            </a:pPr>
            <a:r>
              <a:rPr lang="pt-BR" sz="1100" dirty="0" err="1" smtClean="0">
                <a:highlight>
                  <a:srgbClr val="FFFF00"/>
                </a:highlight>
                <a:latin typeface="Arial"/>
                <a:ea typeface="Times New Roman"/>
              </a:rPr>
              <a:t>Popula</a:t>
            </a:r>
            <a:r>
              <a:rPr lang="pt-BR" sz="1100" dirty="0" smtClean="0">
                <a:highlight>
                  <a:srgbClr val="FFFF00"/>
                </a:highlight>
                <a:latin typeface="Arial"/>
                <a:ea typeface="Times New Roman"/>
              </a:rPr>
              <a:t> a estrutura de entrada do Insert01 com os dados do conta fatura:</a:t>
            </a:r>
            <a:endParaRPr lang="pt-BR" sz="1800" dirty="0" smtClean="0">
              <a:latin typeface="Times New Roman"/>
              <a:ea typeface="Times New Roman"/>
            </a:endParaRPr>
          </a:p>
          <a:p>
            <a:r>
              <a:rPr lang="pt-BR" sz="1100" dirty="0" smtClean="0">
                <a:highlight>
                  <a:srgbClr val="FFFF00"/>
                </a:highlight>
                <a:latin typeface="Arial"/>
                <a:ea typeface="Times New Roman"/>
              </a:rPr>
              <a:t> </a:t>
            </a:r>
            <a:endParaRPr lang="pt-BR" sz="1800" dirty="0" smtClean="0">
              <a:latin typeface="Times New Roman"/>
              <a:ea typeface="Times New Roman"/>
            </a:endParaRPr>
          </a:p>
          <a:p>
            <a:r>
              <a:rPr lang="pt-BR" sz="1100" dirty="0" smtClean="0">
                <a:highlight>
                  <a:srgbClr val="FFFF00"/>
                </a:highlight>
                <a:latin typeface="Arial"/>
                <a:ea typeface="Times New Roman"/>
              </a:rPr>
              <a:t>                          - VL_BASE_CALCULO_SEM_REDUC, com o BASE_CALC_SEM_RED do Select03 [DAM23512]</a:t>
            </a:r>
            <a:endParaRPr lang="pt-BR" sz="1800" dirty="0" smtClean="0">
              <a:latin typeface="Times New Roman"/>
              <a:ea typeface="Times New Roman"/>
            </a:endParaRPr>
          </a:p>
          <a:p>
            <a:r>
              <a:rPr lang="pt-BR" sz="1200" dirty="0" smtClean="0">
                <a:highlight>
                  <a:srgbClr val="FFFF00"/>
                </a:highlight>
                <a:latin typeface="Arial"/>
                <a:ea typeface="Times New Roman"/>
              </a:rPr>
              <a:t>		</a:t>
            </a:r>
            <a:endParaRPr lang="pt-BR" sz="11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 INFORMAÇÃO DE ITEMS NA TABELA TEMP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100" dirty="0" smtClean="0">
                <a:latin typeface="Arial" pitchFamily="34" charset="0"/>
                <a:cs typeface="Arial" pitchFamily="34" charset="0"/>
              </a:rPr>
              <a:t>Esta alteração permite o programa receber os valores das novas colunas VL_BASE_CALCULO_SEM_REDUC e CD_MODELO_ICMS para serem inseridas na tabela TMP_SELECAO_FATURAS_A_FATURAR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3906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sel_fat_numnf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394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786AF2-F1DF-406C-AFE4-206740C43600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1A8A60DF-767E-4D13-944C-76D1C92F967A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10569</TotalTime>
  <Words>1802</Words>
  <Application>Microsoft Office PowerPoint</Application>
  <PresentationFormat>On-screen Show (4:3)</PresentationFormat>
  <Paragraphs>362</Paragraphs>
  <Slides>2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ourier New</vt:lpstr>
      <vt:lpstr>Times New Roman</vt:lpstr>
      <vt:lpstr>Wingdings</vt:lpstr>
      <vt:lpstr>Accenture_Image_Pencils_Letter</vt:lpstr>
      <vt:lpstr>Accenture Management Consulting Accordian Leafes</vt:lpstr>
      <vt:lpstr>think-cell Slide</vt:lpstr>
      <vt:lpstr>Packager Shell Object</vt:lpstr>
      <vt:lpstr>PowerPoint Presentation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  <vt:lpstr>TREINAMENTO DO MÓDULO CUSTOMIZADO  Tratamento dos Impostos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170</cp:revision>
  <dcterms:created xsi:type="dcterms:W3CDTF">2015-07-20T19:08:40Z</dcterms:created>
  <dcterms:modified xsi:type="dcterms:W3CDTF">2015-11-30T16:2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